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8" r:id="rId2"/>
    <p:sldId id="368" r:id="rId3"/>
    <p:sldId id="369" r:id="rId4"/>
    <p:sldId id="370" r:id="rId5"/>
    <p:sldId id="371" r:id="rId6"/>
    <p:sldId id="372" r:id="rId7"/>
  </p:sldIdLst>
  <p:sldSz cx="12192000" cy="6858000"/>
  <p:notesSz cx="6799263" cy="9929813"/>
  <p:custDataLst>
    <p:tags r:id="rId1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8"/>
            <p14:sldId id="369"/>
            <p14:sldId id="370"/>
            <p14:sldId id="371"/>
            <p14:sldId id="3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7" autoAdjust="0"/>
    <p:restoredTop sz="93979" autoAdjust="0"/>
  </p:normalViewPr>
  <p:slideViewPr>
    <p:cSldViewPr snapToObjects="1">
      <p:cViewPr varScale="1">
        <p:scale>
          <a:sx n="114" d="100"/>
          <a:sy n="114" d="100"/>
        </p:scale>
        <p:origin x="41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lan Santos" userId="5657ae1fce397254" providerId="LiveId" clId="{480FA938-9075-46FB-9835-A13CA8AE2CF9}"/>
    <pc:docChg chg="undo custSel addSld delSld modSld sldOrd modSection">
      <pc:chgData name="Allan Santos" userId="5657ae1fce397254" providerId="LiveId" clId="{480FA938-9075-46FB-9835-A13CA8AE2CF9}" dt="2020-10-13T15:59:02.489" v="2508" actId="20577"/>
      <pc:docMkLst>
        <pc:docMk/>
      </pc:docMkLst>
      <pc:sldChg chg="modSp">
        <pc:chgData name="Allan Santos" userId="5657ae1fce397254" providerId="LiveId" clId="{480FA938-9075-46FB-9835-A13CA8AE2CF9}" dt="2020-10-12T13:26:21.454" v="56" actId="20577"/>
        <pc:sldMkLst>
          <pc:docMk/>
          <pc:sldMk cId="2061391938" sldId="258"/>
        </pc:sldMkLst>
        <pc:spChg chg="mod">
          <ac:chgData name="Allan Santos" userId="5657ae1fce397254" providerId="LiveId" clId="{480FA938-9075-46FB-9835-A13CA8AE2CF9}" dt="2020-10-12T13:26:10.296" v="53" actId="20577"/>
          <ac:spMkLst>
            <pc:docMk/>
            <pc:sldMk cId="2061391938" sldId="258"/>
            <ac:spMk id="3075" creationId="{00000000-0000-0000-0000-000000000000}"/>
          </ac:spMkLst>
        </pc:spChg>
        <pc:spChg chg="mod">
          <ac:chgData name="Allan Santos" userId="5657ae1fce397254" providerId="LiveId" clId="{480FA938-9075-46FB-9835-A13CA8AE2CF9}" dt="2020-10-12T13:26:21.454" v="56" actId="20577"/>
          <ac:spMkLst>
            <pc:docMk/>
            <pc:sldMk cId="2061391938" sldId="258"/>
            <ac:spMk id="3076" creationId="{00000000-0000-0000-0000-000000000000}"/>
          </ac:spMkLst>
        </pc:spChg>
      </pc:sldChg>
      <pc:sldChg chg="del">
        <pc:chgData name="Allan Santos" userId="5657ae1fce397254" providerId="LiveId" clId="{480FA938-9075-46FB-9835-A13CA8AE2CF9}" dt="2020-10-13T15:53:43.055" v="2091" actId="2696"/>
        <pc:sldMkLst>
          <pc:docMk/>
          <pc:sldMk cId="1053810168" sldId="272"/>
        </pc:sldMkLst>
      </pc:sldChg>
      <pc:sldChg chg="del">
        <pc:chgData name="Allan Santos" userId="5657ae1fce397254" providerId="LiveId" clId="{480FA938-9075-46FB-9835-A13CA8AE2CF9}" dt="2020-10-13T15:53:53.726" v="2119" actId="2696"/>
        <pc:sldMkLst>
          <pc:docMk/>
          <pc:sldMk cId="259671405" sldId="274"/>
        </pc:sldMkLst>
      </pc:sldChg>
      <pc:sldChg chg="del">
        <pc:chgData name="Allan Santos" userId="5657ae1fce397254" providerId="LiveId" clId="{480FA938-9075-46FB-9835-A13CA8AE2CF9}" dt="2020-10-13T15:53:54.092" v="2127" actId="2696"/>
        <pc:sldMkLst>
          <pc:docMk/>
          <pc:sldMk cId="1470299978" sldId="287"/>
        </pc:sldMkLst>
      </pc:sldChg>
      <pc:sldChg chg="del">
        <pc:chgData name="Allan Santos" userId="5657ae1fce397254" providerId="LiveId" clId="{480FA938-9075-46FB-9835-A13CA8AE2CF9}" dt="2020-10-13T15:53:54.049" v="2125" actId="2696"/>
        <pc:sldMkLst>
          <pc:docMk/>
          <pc:sldMk cId="2232242274" sldId="288"/>
        </pc:sldMkLst>
      </pc:sldChg>
      <pc:sldChg chg="del">
        <pc:chgData name="Allan Santos" userId="5657ae1fce397254" providerId="LiveId" clId="{480FA938-9075-46FB-9835-A13CA8AE2CF9}" dt="2020-10-13T15:53:45.002" v="2093" actId="2696"/>
        <pc:sldMkLst>
          <pc:docMk/>
          <pc:sldMk cId="2353097435" sldId="291"/>
        </pc:sldMkLst>
      </pc:sldChg>
      <pc:sldChg chg="del">
        <pc:chgData name="Allan Santos" userId="5657ae1fce397254" providerId="LiveId" clId="{480FA938-9075-46FB-9835-A13CA8AE2CF9}" dt="2020-10-13T15:53:53.984" v="2122" actId="2696"/>
        <pc:sldMkLst>
          <pc:docMk/>
          <pc:sldMk cId="3302898412" sldId="298"/>
        </pc:sldMkLst>
      </pc:sldChg>
      <pc:sldChg chg="del">
        <pc:chgData name="Allan Santos" userId="5657ae1fce397254" providerId="LiveId" clId="{480FA938-9075-46FB-9835-A13CA8AE2CF9}" dt="2020-10-13T15:53:54.006" v="2123" actId="2696"/>
        <pc:sldMkLst>
          <pc:docMk/>
          <pc:sldMk cId="3363067443" sldId="299"/>
        </pc:sldMkLst>
      </pc:sldChg>
      <pc:sldChg chg="del">
        <pc:chgData name="Allan Santos" userId="5657ae1fce397254" providerId="LiveId" clId="{480FA938-9075-46FB-9835-A13CA8AE2CF9}" dt="2020-10-13T15:53:54.028" v="2124" actId="2696"/>
        <pc:sldMkLst>
          <pc:docMk/>
          <pc:sldMk cId="1646000040" sldId="300"/>
        </pc:sldMkLst>
      </pc:sldChg>
      <pc:sldChg chg="del">
        <pc:chgData name="Allan Santos" userId="5657ae1fce397254" providerId="LiveId" clId="{480FA938-9075-46FB-9835-A13CA8AE2CF9}" dt="2020-10-13T15:53:54.078" v="2126" actId="2696"/>
        <pc:sldMkLst>
          <pc:docMk/>
          <pc:sldMk cId="3798028981" sldId="301"/>
        </pc:sldMkLst>
      </pc:sldChg>
      <pc:sldChg chg="del">
        <pc:chgData name="Allan Santos" userId="5657ae1fce397254" providerId="LiveId" clId="{480FA938-9075-46FB-9835-A13CA8AE2CF9}" dt="2020-10-13T15:53:44.798" v="2092" actId="2696"/>
        <pc:sldMkLst>
          <pc:docMk/>
          <pc:sldMk cId="2843475218" sldId="302"/>
        </pc:sldMkLst>
      </pc:sldChg>
      <pc:sldChg chg="del">
        <pc:chgData name="Allan Santos" userId="5657ae1fce397254" providerId="LiveId" clId="{480FA938-9075-46FB-9835-A13CA8AE2CF9}" dt="2020-10-13T15:53:45.224" v="2094" actId="2696"/>
        <pc:sldMkLst>
          <pc:docMk/>
          <pc:sldMk cId="2072123572" sldId="303"/>
        </pc:sldMkLst>
      </pc:sldChg>
      <pc:sldChg chg="del">
        <pc:chgData name="Allan Santos" userId="5657ae1fce397254" providerId="LiveId" clId="{480FA938-9075-46FB-9835-A13CA8AE2CF9}" dt="2020-10-13T15:53:48.572" v="2110" actId="2696"/>
        <pc:sldMkLst>
          <pc:docMk/>
          <pc:sldMk cId="1310205488" sldId="304"/>
        </pc:sldMkLst>
      </pc:sldChg>
      <pc:sldChg chg="del">
        <pc:chgData name="Allan Santos" userId="5657ae1fce397254" providerId="LiveId" clId="{480FA938-9075-46FB-9835-A13CA8AE2CF9}" dt="2020-10-13T15:53:49.406" v="2113" actId="2696"/>
        <pc:sldMkLst>
          <pc:docMk/>
          <pc:sldMk cId="564926011" sldId="305"/>
        </pc:sldMkLst>
      </pc:sldChg>
      <pc:sldChg chg="del">
        <pc:chgData name="Allan Santos" userId="5657ae1fce397254" providerId="LiveId" clId="{480FA938-9075-46FB-9835-A13CA8AE2CF9}" dt="2020-10-13T15:53:53.661" v="2114" actId="2696"/>
        <pc:sldMkLst>
          <pc:docMk/>
          <pc:sldMk cId="2316464528" sldId="306"/>
        </pc:sldMkLst>
      </pc:sldChg>
      <pc:sldChg chg="del">
        <pc:chgData name="Allan Santos" userId="5657ae1fce397254" providerId="LiveId" clId="{480FA938-9075-46FB-9835-A13CA8AE2CF9}" dt="2020-10-13T15:53:53.682" v="2116" actId="2696"/>
        <pc:sldMkLst>
          <pc:docMk/>
          <pc:sldMk cId="358726100" sldId="307"/>
        </pc:sldMkLst>
      </pc:sldChg>
      <pc:sldChg chg="del">
        <pc:chgData name="Allan Santos" userId="5657ae1fce397254" providerId="LiveId" clId="{480FA938-9075-46FB-9835-A13CA8AE2CF9}" dt="2020-10-13T15:53:47.566" v="2107" actId="2696"/>
        <pc:sldMkLst>
          <pc:docMk/>
          <pc:sldMk cId="1045776993" sldId="311"/>
        </pc:sldMkLst>
      </pc:sldChg>
      <pc:sldChg chg="del">
        <pc:chgData name="Allan Santos" userId="5657ae1fce397254" providerId="LiveId" clId="{480FA938-9075-46FB-9835-A13CA8AE2CF9}" dt="2020-10-13T15:53:53.748" v="2120" actId="2696"/>
        <pc:sldMkLst>
          <pc:docMk/>
          <pc:sldMk cId="4061341912" sldId="312"/>
        </pc:sldMkLst>
      </pc:sldChg>
      <pc:sldChg chg="del">
        <pc:chgData name="Allan Santos" userId="5657ae1fce397254" providerId="LiveId" clId="{480FA938-9075-46FB-9835-A13CA8AE2CF9}" dt="2020-10-13T15:53:53.860" v="2121" actId="2696"/>
        <pc:sldMkLst>
          <pc:docMk/>
          <pc:sldMk cId="2574400973" sldId="321"/>
        </pc:sldMkLst>
      </pc:sldChg>
      <pc:sldChg chg="del">
        <pc:chgData name="Allan Santos" userId="5657ae1fce397254" providerId="LiveId" clId="{480FA938-9075-46FB-9835-A13CA8AE2CF9}" dt="2020-10-13T15:53:45.822" v="2097" actId="2696"/>
        <pc:sldMkLst>
          <pc:docMk/>
          <pc:sldMk cId="1024941304" sldId="324"/>
        </pc:sldMkLst>
      </pc:sldChg>
      <pc:sldChg chg="del">
        <pc:chgData name="Allan Santos" userId="5657ae1fce397254" providerId="LiveId" clId="{480FA938-9075-46FB-9835-A13CA8AE2CF9}" dt="2020-10-13T15:53:46.719" v="2102" actId="2696"/>
        <pc:sldMkLst>
          <pc:docMk/>
          <pc:sldMk cId="595226036" sldId="330"/>
        </pc:sldMkLst>
      </pc:sldChg>
      <pc:sldChg chg="del">
        <pc:chgData name="Allan Santos" userId="5657ae1fce397254" providerId="LiveId" clId="{480FA938-9075-46FB-9835-A13CA8AE2CF9}" dt="2020-10-13T15:53:45.513" v="2095" actId="2696"/>
        <pc:sldMkLst>
          <pc:docMk/>
          <pc:sldMk cId="1179595429" sldId="334"/>
        </pc:sldMkLst>
      </pc:sldChg>
      <pc:sldChg chg="del">
        <pc:chgData name="Allan Santos" userId="5657ae1fce397254" providerId="LiveId" clId="{480FA938-9075-46FB-9835-A13CA8AE2CF9}" dt="2020-10-13T15:53:46.555" v="2101" actId="2696"/>
        <pc:sldMkLst>
          <pc:docMk/>
          <pc:sldMk cId="1852743666" sldId="335"/>
        </pc:sldMkLst>
      </pc:sldChg>
      <pc:sldChg chg="del">
        <pc:chgData name="Allan Santos" userId="5657ae1fce397254" providerId="LiveId" clId="{480FA938-9075-46FB-9835-A13CA8AE2CF9}" dt="2020-10-13T15:53:46.373" v="2100" actId="2696"/>
        <pc:sldMkLst>
          <pc:docMk/>
          <pc:sldMk cId="3948009481" sldId="337"/>
        </pc:sldMkLst>
      </pc:sldChg>
      <pc:sldChg chg="del">
        <pc:chgData name="Allan Santos" userId="5657ae1fce397254" providerId="LiveId" clId="{480FA938-9075-46FB-9835-A13CA8AE2CF9}" dt="2020-10-13T15:53:46.193" v="2099" actId="2696"/>
        <pc:sldMkLst>
          <pc:docMk/>
          <pc:sldMk cId="813742973" sldId="338"/>
        </pc:sldMkLst>
      </pc:sldChg>
      <pc:sldChg chg="del">
        <pc:chgData name="Allan Santos" userId="5657ae1fce397254" providerId="LiveId" clId="{480FA938-9075-46FB-9835-A13CA8AE2CF9}" dt="2020-10-13T15:53:47.113" v="2104" actId="2696"/>
        <pc:sldMkLst>
          <pc:docMk/>
          <pc:sldMk cId="2070881290" sldId="341"/>
        </pc:sldMkLst>
      </pc:sldChg>
      <pc:sldChg chg="del">
        <pc:chgData name="Allan Santos" userId="5657ae1fce397254" providerId="LiveId" clId="{480FA938-9075-46FB-9835-A13CA8AE2CF9}" dt="2020-10-13T15:53:47.403" v="2106" actId="2696"/>
        <pc:sldMkLst>
          <pc:docMk/>
          <pc:sldMk cId="1175061137" sldId="342"/>
        </pc:sldMkLst>
      </pc:sldChg>
      <pc:sldChg chg="del">
        <pc:chgData name="Allan Santos" userId="5657ae1fce397254" providerId="LiveId" clId="{480FA938-9075-46FB-9835-A13CA8AE2CF9}" dt="2020-10-13T15:53:48.179" v="2108" actId="2696"/>
        <pc:sldMkLst>
          <pc:docMk/>
          <pc:sldMk cId="2616348673" sldId="343"/>
        </pc:sldMkLst>
      </pc:sldChg>
      <pc:sldChg chg="del">
        <pc:chgData name="Allan Santos" userId="5657ae1fce397254" providerId="LiveId" clId="{480FA938-9075-46FB-9835-A13CA8AE2CF9}" dt="2020-10-13T15:53:48.367" v="2109" actId="2696"/>
        <pc:sldMkLst>
          <pc:docMk/>
          <pc:sldMk cId="936867337" sldId="344"/>
        </pc:sldMkLst>
      </pc:sldChg>
      <pc:sldChg chg="del">
        <pc:chgData name="Allan Santos" userId="5657ae1fce397254" providerId="LiveId" clId="{480FA938-9075-46FB-9835-A13CA8AE2CF9}" dt="2020-10-13T15:53:46.036" v="2098" actId="2696"/>
        <pc:sldMkLst>
          <pc:docMk/>
          <pc:sldMk cId="2037519146" sldId="347"/>
        </pc:sldMkLst>
      </pc:sldChg>
      <pc:sldChg chg="del">
        <pc:chgData name="Allan Santos" userId="5657ae1fce397254" providerId="LiveId" clId="{480FA938-9075-46FB-9835-A13CA8AE2CF9}" dt="2020-10-13T15:53:45.697" v="2096" actId="2696"/>
        <pc:sldMkLst>
          <pc:docMk/>
          <pc:sldMk cId="2976711273" sldId="348"/>
        </pc:sldMkLst>
      </pc:sldChg>
      <pc:sldChg chg="del">
        <pc:chgData name="Allan Santos" userId="5657ae1fce397254" providerId="LiveId" clId="{480FA938-9075-46FB-9835-A13CA8AE2CF9}" dt="2020-10-13T15:53:49.005" v="2112" actId="2696"/>
        <pc:sldMkLst>
          <pc:docMk/>
          <pc:sldMk cId="1146328269" sldId="349"/>
        </pc:sldMkLst>
      </pc:sldChg>
      <pc:sldChg chg="del">
        <pc:chgData name="Allan Santos" userId="5657ae1fce397254" providerId="LiveId" clId="{480FA938-9075-46FB-9835-A13CA8AE2CF9}" dt="2020-10-13T15:53:48.749" v="2111" actId="2696"/>
        <pc:sldMkLst>
          <pc:docMk/>
          <pc:sldMk cId="2946800230" sldId="350"/>
        </pc:sldMkLst>
      </pc:sldChg>
      <pc:sldChg chg="del">
        <pc:chgData name="Allan Santos" userId="5657ae1fce397254" providerId="LiveId" clId="{480FA938-9075-46FB-9835-A13CA8AE2CF9}" dt="2020-10-13T15:53:59.307" v="2128" actId="2696"/>
        <pc:sldMkLst>
          <pc:docMk/>
          <pc:sldMk cId="3098305987" sldId="351"/>
        </pc:sldMkLst>
      </pc:sldChg>
      <pc:sldChg chg="del">
        <pc:chgData name="Allan Santos" userId="5657ae1fce397254" providerId="LiveId" clId="{480FA938-9075-46FB-9835-A13CA8AE2CF9}" dt="2020-10-13T15:53:59.315" v="2129" actId="2696"/>
        <pc:sldMkLst>
          <pc:docMk/>
          <pc:sldMk cId="3469795549" sldId="352"/>
        </pc:sldMkLst>
      </pc:sldChg>
      <pc:sldChg chg="del">
        <pc:chgData name="Allan Santos" userId="5657ae1fce397254" providerId="LiveId" clId="{480FA938-9075-46FB-9835-A13CA8AE2CF9}" dt="2020-10-13T15:53:59.333" v="2130" actId="2696"/>
        <pc:sldMkLst>
          <pc:docMk/>
          <pc:sldMk cId="2913046213" sldId="353"/>
        </pc:sldMkLst>
      </pc:sldChg>
      <pc:sldChg chg="del">
        <pc:chgData name="Allan Santos" userId="5657ae1fce397254" providerId="LiveId" clId="{480FA938-9075-46FB-9835-A13CA8AE2CF9}" dt="2020-10-13T15:53:53.671" v="2115" actId="2696"/>
        <pc:sldMkLst>
          <pc:docMk/>
          <pc:sldMk cId="2333193699" sldId="355"/>
        </pc:sldMkLst>
      </pc:sldChg>
      <pc:sldChg chg="del">
        <pc:chgData name="Allan Santos" userId="5657ae1fce397254" providerId="LiveId" clId="{480FA938-9075-46FB-9835-A13CA8AE2CF9}" dt="2020-10-13T15:53:59.340" v="2131" actId="2696"/>
        <pc:sldMkLst>
          <pc:docMk/>
          <pc:sldMk cId="1010679285" sldId="357"/>
        </pc:sldMkLst>
      </pc:sldChg>
      <pc:sldChg chg="del">
        <pc:chgData name="Allan Santos" userId="5657ae1fce397254" providerId="LiveId" clId="{480FA938-9075-46FB-9835-A13CA8AE2CF9}" dt="2020-10-13T15:53:53.714" v="2118" actId="2696"/>
        <pc:sldMkLst>
          <pc:docMk/>
          <pc:sldMk cId="2082372276" sldId="360"/>
        </pc:sldMkLst>
      </pc:sldChg>
      <pc:sldChg chg="del">
        <pc:chgData name="Allan Santos" userId="5657ae1fce397254" providerId="LiveId" clId="{480FA938-9075-46FB-9835-A13CA8AE2CF9}" dt="2020-10-13T15:53:46.877" v="2103" actId="2696"/>
        <pc:sldMkLst>
          <pc:docMk/>
          <pc:sldMk cId="1378308373" sldId="365"/>
        </pc:sldMkLst>
      </pc:sldChg>
      <pc:sldChg chg="del">
        <pc:chgData name="Allan Santos" userId="5657ae1fce397254" providerId="LiveId" clId="{480FA938-9075-46FB-9835-A13CA8AE2CF9}" dt="2020-10-13T15:53:53.701" v="2117" actId="2696"/>
        <pc:sldMkLst>
          <pc:docMk/>
          <pc:sldMk cId="1404810151" sldId="366"/>
        </pc:sldMkLst>
      </pc:sldChg>
      <pc:sldChg chg="del">
        <pc:chgData name="Allan Santos" userId="5657ae1fce397254" providerId="LiveId" clId="{480FA938-9075-46FB-9835-A13CA8AE2CF9}" dt="2020-10-13T15:53:47.233" v="2105" actId="2696"/>
        <pc:sldMkLst>
          <pc:docMk/>
          <pc:sldMk cId="2739332221" sldId="367"/>
        </pc:sldMkLst>
      </pc:sldChg>
      <pc:sldChg chg="modSp new add">
        <pc:chgData name="Allan Santos" userId="5657ae1fce397254" providerId="LiveId" clId="{480FA938-9075-46FB-9835-A13CA8AE2CF9}" dt="2020-10-13T15:55:55.581" v="2283" actId="20577"/>
        <pc:sldMkLst>
          <pc:docMk/>
          <pc:sldMk cId="2359116600" sldId="368"/>
        </pc:sldMkLst>
        <pc:spChg chg="mod">
          <ac:chgData name="Allan Santos" userId="5657ae1fce397254" providerId="LiveId" clId="{480FA938-9075-46FB-9835-A13CA8AE2CF9}" dt="2020-10-13T14:27:13.906" v="919" actId="20577"/>
          <ac:spMkLst>
            <pc:docMk/>
            <pc:sldMk cId="2359116600" sldId="368"/>
            <ac:spMk id="2" creationId="{4A06A666-EC5B-4594-ADA6-33DAAC3A097F}"/>
          </ac:spMkLst>
        </pc:spChg>
        <pc:spChg chg="mod">
          <ac:chgData name="Allan Santos" userId="5657ae1fce397254" providerId="LiveId" clId="{480FA938-9075-46FB-9835-A13CA8AE2CF9}" dt="2020-10-13T15:55:55.581" v="2283" actId="20577"/>
          <ac:spMkLst>
            <pc:docMk/>
            <pc:sldMk cId="2359116600" sldId="368"/>
            <ac:spMk id="3" creationId="{EE67704E-A2EC-4171-B187-B57A217F0133}"/>
          </ac:spMkLst>
        </pc:spChg>
      </pc:sldChg>
      <pc:sldChg chg="addSp delSp modSp add">
        <pc:chgData name="Allan Santos" userId="5657ae1fce397254" providerId="LiveId" clId="{480FA938-9075-46FB-9835-A13CA8AE2CF9}" dt="2020-10-13T15:56:09.891" v="2291" actId="20577"/>
        <pc:sldMkLst>
          <pc:docMk/>
          <pc:sldMk cId="1143833908" sldId="369"/>
        </pc:sldMkLst>
        <pc:spChg chg="mod">
          <ac:chgData name="Allan Santos" userId="5657ae1fce397254" providerId="LiveId" clId="{480FA938-9075-46FB-9835-A13CA8AE2CF9}" dt="2020-10-13T14:36:25.721" v="952" actId="20577"/>
          <ac:spMkLst>
            <pc:docMk/>
            <pc:sldMk cId="1143833908" sldId="369"/>
            <ac:spMk id="2" creationId="{4A06A666-EC5B-4594-ADA6-33DAAC3A097F}"/>
          </ac:spMkLst>
        </pc:spChg>
        <pc:spChg chg="mod">
          <ac:chgData name="Allan Santos" userId="5657ae1fce397254" providerId="LiveId" clId="{480FA938-9075-46FB-9835-A13CA8AE2CF9}" dt="2020-10-13T15:56:09.891" v="2291" actId="20577"/>
          <ac:spMkLst>
            <pc:docMk/>
            <pc:sldMk cId="1143833908" sldId="369"/>
            <ac:spMk id="3" creationId="{EE67704E-A2EC-4171-B187-B57A217F0133}"/>
          </ac:spMkLst>
        </pc:spChg>
        <pc:picChg chg="add mod modCrop">
          <ac:chgData name="Allan Santos" userId="5657ae1fce397254" providerId="LiveId" clId="{480FA938-9075-46FB-9835-A13CA8AE2CF9}" dt="2020-10-13T14:40:39.300" v="1129" actId="1076"/>
          <ac:picMkLst>
            <pc:docMk/>
            <pc:sldMk cId="1143833908" sldId="369"/>
            <ac:picMk id="4" creationId="{472735ED-0394-4305-95AC-DC41059041CC}"/>
          </ac:picMkLst>
        </pc:picChg>
        <pc:picChg chg="add del">
          <ac:chgData name="Allan Santos" userId="5657ae1fce397254" providerId="LiveId" clId="{480FA938-9075-46FB-9835-A13CA8AE2CF9}" dt="2020-10-13T14:43:34.740" v="1135"/>
          <ac:picMkLst>
            <pc:docMk/>
            <pc:sldMk cId="1143833908" sldId="369"/>
            <ac:picMk id="8" creationId="{EE712A1E-0CDE-4498-AD20-EC37FFE5A7A7}"/>
          </ac:picMkLst>
        </pc:picChg>
        <pc:cxnChg chg="add mod">
          <ac:chgData name="Allan Santos" userId="5657ae1fce397254" providerId="LiveId" clId="{480FA938-9075-46FB-9835-A13CA8AE2CF9}" dt="2020-10-13T14:40:56.202" v="1133" actId="1582"/>
          <ac:cxnSpMkLst>
            <pc:docMk/>
            <pc:sldMk cId="1143833908" sldId="369"/>
            <ac:cxnSpMk id="6" creationId="{825036CD-013D-4AB3-8240-FDB04BE051DC}"/>
          </ac:cxnSpMkLst>
        </pc:cxnChg>
      </pc:sldChg>
      <pc:sldChg chg="delSp modSp add">
        <pc:chgData name="Allan Santos" userId="5657ae1fce397254" providerId="LiveId" clId="{480FA938-9075-46FB-9835-A13CA8AE2CF9}" dt="2020-10-13T15:57:28.433" v="2297" actId="20577"/>
        <pc:sldMkLst>
          <pc:docMk/>
          <pc:sldMk cId="2932707584" sldId="370"/>
        </pc:sldMkLst>
        <pc:spChg chg="mod">
          <ac:chgData name="Allan Santos" userId="5657ae1fce397254" providerId="LiveId" clId="{480FA938-9075-46FB-9835-A13CA8AE2CF9}" dt="2020-10-13T15:57:28.433" v="2297" actId="20577"/>
          <ac:spMkLst>
            <pc:docMk/>
            <pc:sldMk cId="2932707584" sldId="370"/>
            <ac:spMk id="3" creationId="{EE67704E-A2EC-4171-B187-B57A217F0133}"/>
          </ac:spMkLst>
        </pc:spChg>
        <pc:picChg chg="del">
          <ac:chgData name="Allan Santos" userId="5657ae1fce397254" providerId="LiveId" clId="{480FA938-9075-46FB-9835-A13CA8AE2CF9}" dt="2020-10-13T14:43:38.846" v="1137" actId="478"/>
          <ac:picMkLst>
            <pc:docMk/>
            <pc:sldMk cId="2932707584" sldId="370"/>
            <ac:picMk id="4" creationId="{472735ED-0394-4305-95AC-DC41059041CC}"/>
          </ac:picMkLst>
        </pc:picChg>
        <pc:cxnChg chg="del">
          <ac:chgData name="Allan Santos" userId="5657ae1fce397254" providerId="LiveId" clId="{480FA938-9075-46FB-9835-A13CA8AE2CF9}" dt="2020-10-13T14:43:47.037" v="1148" actId="478"/>
          <ac:cxnSpMkLst>
            <pc:docMk/>
            <pc:sldMk cId="2932707584" sldId="370"/>
            <ac:cxnSpMk id="6" creationId="{825036CD-013D-4AB3-8240-FDB04BE051DC}"/>
          </ac:cxnSpMkLst>
        </pc:cxnChg>
      </pc:sldChg>
      <pc:sldChg chg="addSp modSp add">
        <pc:chgData name="Allan Santos" userId="5657ae1fce397254" providerId="LiveId" clId="{480FA938-9075-46FB-9835-A13CA8AE2CF9}" dt="2020-10-13T15:48:06.811" v="1865" actId="1076"/>
        <pc:sldMkLst>
          <pc:docMk/>
          <pc:sldMk cId="169467878" sldId="371"/>
        </pc:sldMkLst>
        <pc:spChg chg="mod">
          <ac:chgData name="Allan Santos" userId="5657ae1fce397254" providerId="LiveId" clId="{480FA938-9075-46FB-9835-A13CA8AE2CF9}" dt="2020-10-13T15:47:44.004" v="1857" actId="20577"/>
          <ac:spMkLst>
            <pc:docMk/>
            <pc:sldMk cId="169467878" sldId="371"/>
            <ac:spMk id="3" creationId="{EE67704E-A2EC-4171-B187-B57A217F0133}"/>
          </ac:spMkLst>
        </pc:spChg>
        <pc:picChg chg="add mod">
          <ac:chgData name="Allan Santos" userId="5657ae1fce397254" providerId="LiveId" clId="{480FA938-9075-46FB-9835-A13CA8AE2CF9}" dt="2020-10-13T15:47:48.908" v="1860" actId="1076"/>
          <ac:picMkLst>
            <pc:docMk/>
            <pc:sldMk cId="169467878" sldId="371"/>
            <ac:picMk id="4" creationId="{0A4E95C9-863F-46C6-A8AF-DE6497DC5674}"/>
          </ac:picMkLst>
        </pc:picChg>
        <pc:cxnChg chg="add mod">
          <ac:chgData name="Allan Santos" userId="5657ae1fce397254" providerId="LiveId" clId="{480FA938-9075-46FB-9835-A13CA8AE2CF9}" dt="2020-10-13T15:47:58.853" v="1862" actId="1076"/>
          <ac:cxnSpMkLst>
            <pc:docMk/>
            <pc:sldMk cId="169467878" sldId="371"/>
            <ac:cxnSpMk id="5" creationId="{988AB5DC-E00B-4F09-9125-DA7AFBF852F7}"/>
          </ac:cxnSpMkLst>
        </pc:cxnChg>
        <pc:cxnChg chg="add mod">
          <ac:chgData name="Allan Santos" userId="5657ae1fce397254" providerId="LiveId" clId="{480FA938-9075-46FB-9835-A13CA8AE2CF9}" dt="2020-10-13T15:48:06.811" v="1865" actId="1076"/>
          <ac:cxnSpMkLst>
            <pc:docMk/>
            <pc:sldMk cId="169467878" sldId="371"/>
            <ac:cxnSpMk id="6" creationId="{66BD8ABA-2D70-4E5D-990B-B6F265376DF0}"/>
          </ac:cxnSpMkLst>
        </pc:cxnChg>
      </pc:sldChg>
      <pc:sldChg chg="modSp new add">
        <pc:chgData name="Allan Santos" userId="5657ae1fce397254" providerId="LiveId" clId="{480FA938-9075-46FB-9835-A13CA8AE2CF9}" dt="2020-10-13T15:59:02.489" v="2508" actId="20577"/>
        <pc:sldMkLst>
          <pc:docMk/>
          <pc:sldMk cId="818415650" sldId="372"/>
        </pc:sldMkLst>
        <pc:spChg chg="mod">
          <ac:chgData name="Allan Santos" userId="5657ae1fce397254" providerId="LiveId" clId="{480FA938-9075-46FB-9835-A13CA8AE2CF9}" dt="2020-10-13T15:57:56.856" v="2323" actId="20577"/>
          <ac:spMkLst>
            <pc:docMk/>
            <pc:sldMk cId="818415650" sldId="372"/>
            <ac:spMk id="2" creationId="{1D89A562-C2AC-48E3-B048-CF9F41F687A6}"/>
          </ac:spMkLst>
        </pc:spChg>
        <pc:spChg chg="mod">
          <ac:chgData name="Allan Santos" userId="5657ae1fce397254" providerId="LiveId" clId="{480FA938-9075-46FB-9835-A13CA8AE2CF9}" dt="2020-10-13T15:59:02.489" v="2508" actId="20577"/>
          <ac:spMkLst>
            <pc:docMk/>
            <pc:sldMk cId="818415650" sldId="372"/>
            <ac:spMk id="3" creationId="{C1CA3CB8-E474-4C3B-A185-56E4C461AAA6}"/>
          </ac:spMkLst>
        </pc:spChg>
      </pc:sldChg>
      <pc:sldChg chg="add del">
        <pc:chgData name="Allan Santos" userId="5657ae1fce397254" providerId="LiveId" clId="{480FA938-9075-46FB-9835-A13CA8AE2CF9}" dt="2020-10-13T15:47:08.372" v="1837" actId="2696"/>
        <pc:sldMkLst>
          <pc:docMk/>
          <pc:sldMk cId="2303385606" sldId="372"/>
        </pc:sldMkLst>
      </pc:sldChg>
      <pc:sldChg chg="addSp delSp modSp add del ord">
        <pc:chgData name="Allan Santos" userId="5657ae1fce397254" providerId="LiveId" clId="{480FA938-9075-46FB-9835-A13CA8AE2CF9}" dt="2020-10-13T15:53:42.459" v="2090" actId="2696"/>
        <pc:sldMkLst>
          <pc:docMk/>
          <pc:sldMk cId="3724466042" sldId="372"/>
        </pc:sldMkLst>
        <pc:spChg chg="add del mod">
          <ac:chgData name="Allan Santos" userId="5657ae1fce397254" providerId="LiveId" clId="{480FA938-9075-46FB-9835-A13CA8AE2CF9}" dt="2020-10-13T15:47:35.361" v="1854" actId="20577"/>
          <ac:spMkLst>
            <pc:docMk/>
            <pc:sldMk cId="3724466042" sldId="372"/>
            <ac:spMk id="3" creationId="{EE67704E-A2EC-4171-B187-B57A217F0133}"/>
          </ac:spMkLst>
        </pc:spChg>
        <pc:picChg chg="add del mod">
          <ac:chgData name="Allan Santos" userId="5657ae1fce397254" providerId="LiveId" clId="{480FA938-9075-46FB-9835-A13CA8AE2CF9}" dt="2020-10-13T15:47:36.889" v="1856"/>
          <ac:picMkLst>
            <pc:docMk/>
            <pc:sldMk cId="3724466042" sldId="372"/>
            <ac:picMk id="4" creationId="{3543FFAD-13E9-4FD1-AE36-866D0BE1CC3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2. November 2020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2. November 2020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conda.io/en/latest/miniconda.html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Tim Janke, Allan Santos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achine Learning </a:t>
            </a:r>
            <a:r>
              <a:rPr lang="en-US"/>
              <a:t>&amp; Energy - Exercises</a:t>
            </a:r>
            <a:br>
              <a:rPr lang="en-US"/>
            </a:br>
            <a:r>
              <a:rPr lang="en-US"/>
              <a:t>0. Installation and Introduction to Pyth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6A666-EC5B-4594-ADA6-33DAAC3A0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stalling Python and creating virtual environment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7704E-A2EC-4171-B187-B57A217F0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0"/>
              <a:t>We recommend to install Python using miniconda:</a:t>
            </a:r>
          </a:p>
          <a:p>
            <a:pPr marL="901700" lvl="1" indent="-457200">
              <a:buFont typeface="+mj-lt"/>
              <a:buAutoNum type="arabicPeriod"/>
            </a:pPr>
            <a:r>
              <a:rPr lang="de-DE"/>
              <a:t>Download miniconda using the following link: </a:t>
            </a:r>
            <a:r>
              <a:rPr lang="en-US">
                <a:hlinkClick r:id="rId2"/>
              </a:rPr>
              <a:t>https://docs.conda.io/en/latest/miniconda.html</a:t>
            </a:r>
            <a:r>
              <a:rPr lang="en-US"/>
              <a:t> (Python 3.8)</a:t>
            </a:r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Install miniconda using the default options</a:t>
            </a:r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Download the exercise folder from Moodle and unzip it</a:t>
            </a:r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Open the Anaconda Prompt (just type “Anaconda” in the search bar and double-click on it) and run the command “conda env create –f environment.yml” (give the full path to environment.yml, e.g. “C:\Users\username\Downloads\environment.yml”) </a:t>
            </a:r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If you enter the command “conda env list” you should see an environment called MLE</a:t>
            </a:r>
          </a:p>
          <a:p>
            <a:pPr marL="901700" lvl="1" indent="-457200">
              <a:buFont typeface="+mj-lt"/>
              <a:buAutoNum type="arabicPeriod"/>
            </a:pPr>
            <a:endParaRPr lang="en-US"/>
          </a:p>
          <a:p>
            <a:pPr marL="901700" lvl="1" indent="-457200">
              <a:buFont typeface="+mj-lt"/>
              <a:buAutoNum type="arabicPeriod"/>
            </a:pPr>
            <a:endParaRPr lang="en-US"/>
          </a:p>
          <a:p>
            <a:pPr marL="1033200" lvl="2" indent="-457200">
              <a:buFont typeface="+mj-lt"/>
              <a:buAutoNum type="arabicPeriod"/>
            </a:pPr>
            <a:endParaRPr lang="en-US"/>
          </a:p>
          <a:p>
            <a:pPr marL="1033200" lvl="2" indent="-457200">
              <a:buFont typeface="+mj-lt"/>
              <a:buAutoNum type="arabicPeriod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116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6A666-EC5B-4594-ADA6-33DAAC3A0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stalling VS Code and Python extension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7704E-A2EC-4171-B187-B57A217F0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0"/>
              <a:t>We recommend using VS Code as text editor:</a:t>
            </a:r>
          </a:p>
          <a:p>
            <a:pPr marL="901700" lvl="1" indent="-457200">
              <a:buFont typeface="+mj-lt"/>
              <a:buAutoNum type="arabicPeriod"/>
            </a:pPr>
            <a:r>
              <a:rPr lang="de-DE"/>
              <a:t>Download VS Code using the following link:</a:t>
            </a:r>
            <a:r>
              <a:rPr lang="en-US"/>
              <a:t> </a:t>
            </a:r>
            <a:r>
              <a:rPr lang="en-US">
                <a:hlinkClick r:id="rId2"/>
              </a:rPr>
              <a:t>https://code.visualstudio.com/download</a:t>
            </a:r>
            <a:endParaRPr lang="en-US"/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Install VS Code using the default options</a:t>
            </a:r>
          </a:p>
          <a:p>
            <a:pPr marL="901700" lvl="1" indent="-457200">
              <a:buFont typeface="+mj-lt"/>
              <a:buAutoNum type="arabicPeriod"/>
            </a:pPr>
            <a:r>
              <a:rPr lang="en-US"/>
              <a:t>Launch VS Code and in the extensions menu search for Python and install it</a:t>
            </a:r>
          </a:p>
          <a:p>
            <a:pPr marL="1033200" lvl="2" indent="-457200">
              <a:buFont typeface="+mj-lt"/>
              <a:buAutoNum type="arabicPeriod"/>
            </a:pPr>
            <a:endParaRPr lang="en-US"/>
          </a:p>
          <a:p>
            <a:pPr marL="1033200" lvl="2" indent="-457200">
              <a:buFont typeface="+mj-lt"/>
              <a:buAutoNum type="arabicPeriod"/>
            </a:pP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2735ED-0394-4305-95AC-DC41059041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6497"/>
          <a:stretch/>
        </p:blipFill>
        <p:spPr>
          <a:xfrm>
            <a:off x="4700661" y="3429000"/>
            <a:ext cx="2790677" cy="3063771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25036CD-013D-4AB3-8240-FDB04BE051DC}"/>
              </a:ext>
            </a:extLst>
          </p:cNvPr>
          <p:cNvCxnSpPr>
            <a:cxnSpLocks/>
          </p:cNvCxnSpPr>
          <p:nvPr/>
        </p:nvCxnSpPr>
        <p:spPr>
          <a:xfrm>
            <a:off x="4079776" y="4293096"/>
            <a:ext cx="57606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3833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6A666-EC5B-4594-ADA6-33DAAC3A0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stalling VS Code and Python extension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7704E-A2EC-4171-B187-B57A217F0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1700" lvl="1" indent="-457200">
              <a:buFont typeface="+mj-lt"/>
              <a:buAutoNum type="arabicPeriod" startAt="4"/>
            </a:pPr>
            <a:r>
              <a:rPr lang="en-US" sz="2200"/>
              <a:t>Click in the bottom-left corner text of the main window. Select the option “Enter interpreter path…”, then “Find…”. Your interpreter should be in “C:Users/username/miniconda3/envs/MLE/python.exe”</a:t>
            </a:r>
          </a:p>
          <a:p>
            <a:pPr marL="901700" lvl="1" indent="-457200">
              <a:buFont typeface="+mj-lt"/>
              <a:buAutoNum type="arabicPeriod" startAt="4"/>
            </a:pPr>
            <a:r>
              <a:rPr lang="en-US" sz="2200"/>
              <a:t>Open the .ipynb file from the exercise folder</a:t>
            </a:r>
          </a:p>
          <a:p>
            <a:pPr marL="901700" lvl="1" indent="-457200">
              <a:buFont typeface="+mj-lt"/>
              <a:buAutoNum type="arabicPeriod" startAt="4"/>
            </a:pPr>
            <a:r>
              <a:rPr lang="en-US" sz="2200"/>
              <a:t>In the upper right corner, select the kernel MLE</a:t>
            </a:r>
          </a:p>
          <a:p>
            <a:pPr lvl="2" indent="0">
              <a:buNone/>
            </a:pPr>
            <a:r>
              <a:rPr lang="en-US" sz="2000"/>
              <a:t>  </a:t>
            </a:r>
          </a:p>
          <a:p>
            <a:pPr marL="1033200" lvl="2" indent="-457200">
              <a:buFont typeface="+mj-lt"/>
              <a:buAutoNum type="arabicPeriod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0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6A666-EC5B-4594-ADA6-33DAAC3A0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stalling VS Code and Python extension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7704E-A2EC-4171-B187-B57A217F0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 indent="0">
              <a:buNone/>
            </a:pPr>
            <a:r>
              <a:rPr lang="en-US" sz="2000"/>
              <a:t>  </a:t>
            </a:r>
          </a:p>
          <a:p>
            <a:pPr marL="1033200" lvl="2" indent="-457200">
              <a:buFont typeface="+mj-lt"/>
              <a:buAutoNum type="arabicPeriod"/>
            </a:pP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4E95C9-863F-46C6-A8AF-DE6497DC5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1634753"/>
            <a:ext cx="9624392" cy="4681866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88AB5DC-E00B-4F09-9125-DA7AFBF852F7}"/>
              </a:ext>
            </a:extLst>
          </p:cNvPr>
          <p:cNvCxnSpPr>
            <a:cxnSpLocks/>
          </p:cNvCxnSpPr>
          <p:nvPr/>
        </p:nvCxnSpPr>
        <p:spPr>
          <a:xfrm>
            <a:off x="623392" y="6237312"/>
            <a:ext cx="57606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6BD8ABA-2D70-4E5D-990B-B6F265376DF0}"/>
              </a:ext>
            </a:extLst>
          </p:cNvPr>
          <p:cNvCxnSpPr>
            <a:cxnSpLocks/>
          </p:cNvCxnSpPr>
          <p:nvPr/>
        </p:nvCxnSpPr>
        <p:spPr>
          <a:xfrm flipH="1">
            <a:off x="10823848" y="2060848"/>
            <a:ext cx="639688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678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9A562-C2AC-48E3-B048-CF9F41F68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asic usage of notebooks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A3CB8-E474-4C3B-A185-56E4C461AA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2900" indent="-342900">
              <a:buFont typeface="Arial" panose="020B0604020202020204" pitchFamily="34" charset="0"/>
              <a:buChar char="•"/>
            </a:pPr>
            <a:r>
              <a:rPr lang="de-DE" b="0"/>
              <a:t>You can run cells by selecting them and pressing SHIFT+ENTER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de-DE" b="0"/>
              <a:t>Cells can contain either code or Markdown text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de-DE" b="0"/>
              <a:t>Follow the tutorial and have fun!</a:t>
            </a:r>
            <a:endParaRPr lang="LID4096" b="0"/>
          </a:p>
        </p:txBody>
      </p:sp>
    </p:spTree>
    <p:extLst>
      <p:ext uri="{BB962C8B-B14F-4D97-AF65-F5344CB8AC3E}">
        <p14:creationId xmlns:p14="http://schemas.microsoft.com/office/powerpoint/2010/main" val="818415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1&quot; layoutId=&quot;1_1&quot; createSections=&quot;0&quot; singleSlideId=&quot;&quot; backupSlideId=&quot;510bf419-c092-4623-bd2c-c8fe09b39a25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03.4183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358b218e-c0b3-49db-bdbd-aae3ce6cc733&quot; parentId=&quot;&quot; level=&quot;1&quot; generateAgendaSlide=&quot;1&quot; showAgendaItem=&quot;1&quot; isBreak=&quot;0&quot; topic=&quot;Motivation&quot; agendaSlideId=&quot;0d9fa522-03b0-4070-afc2-7be073f3969d&quot; /&gt;&lt;item duration=&quot;30&quot; id=&quot;8434297e-40c7-4481-a385-9c5c330e1bf7&quot; parentId=&quot;&quot; level=&quot;1&quot; generateAgendaSlide=&quot;1&quot; showAgendaItem=&quot;1&quot; isBreak=&quot;0&quot; topic=&quot;Further food for thought&quot; agendaSlideId=&quot;cf7d6a0e-bcc9-45c8-bb12-115ba6f7a54a&quot; /&gt;&lt;/items&gt;&lt;/agenda&gt;&lt;/contents&gt;&lt;/ee4p&gt;"/>
  <p:tag name="EE4P_AGENDAWIZARD_UPDATEPAGENUMBERS" val="1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9</Words>
  <Application>Microsoft Office PowerPoint</Application>
  <PresentationFormat>Widescreen</PresentationFormat>
  <Paragraphs>31</Paragraphs>
  <Slides>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Bitstream Charter</vt:lpstr>
      <vt:lpstr>Charter</vt:lpstr>
      <vt:lpstr>Stafford</vt:lpstr>
      <vt:lpstr>Tahoma</vt:lpstr>
      <vt:lpstr>Wingdings</vt:lpstr>
      <vt:lpstr>Präsentationsvorlage_BWL9</vt:lpstr>
      <vt:lpstr>Machine Learning &amp; Energy - Exercises 0. Installation and Introduction to Python</vt:lpstr>
      <vt:lpstr>Installing Python and creating virtual environment</vt:lpstr>
      <vt:lpstr>Installing VS Code and Python extension</vt:lpstr>
      <vt:lpstr>Installing VS Code and Python extension</vt:lpstr>
      <vt:lpstr>Installing VS Code and Python extension</vt:lpstr>
      <vt:lpstr>Basic usage of noteboo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Allan Santos</cp:lastModifiedBy>
  <cp:revision>725</cp:revision>
  <cp:lastPrinted>2015-03-31T13:31:38Z</cp:lastPrinted>
  <dcterms:created xsi:type="dcterms:W3CDTF">2009-12-23T09:42:49Z</dcterms:created>
  <dcterms:modified xsi:type="dcterms:W3CDTF">2020-11-02T08:31:48Z</dcterms:modified>
</cp:coreProperties>
</file>